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19"/>
  </p:notesMasterIdLst>
  <p:sldIdLst>
    <p:sldId id="2145872570" r:id="rId5"/>
    <p:sldId id="2145872571" r:id="rId6"/>
    <p:sldId id="2145872572" r:id="rId7"/>
    <p:sldId id="2145872582" r:id="rId8"/>
    <p:sldId id="2145872573" r:id="rId9"/>
    <p:sldId id="2145872583" r:id="rId10"/>
    <p:sldId id="2145872574" r:id="rId11"/>
    <p:sldId id="2145872575" r:id="rId12"/>
    <p:sldId id="2145872576" r:id="rId13"/>
    <p:sldId id="2145872577" r:id="rId14"/>
    <p:sldId id="2145872578" r:id="rId15"/>
    <p:sldId id="2145872579" r:id="rId16"/>
    <p:sldId id="2145872580" r:id="rId17"/>
    <p:sldId id="2145872584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90E7E56-03B5-1D07-6ED1-06FED56D87B7}" name="Lundell Emma" initials="LE" userId="S::179979@skane.se::5ae54fd0-a567-4245-b50e-284bb6763385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654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54068B-8D1F-4422-859F-4BF16EC55376}" type="datetimeFigureOut">
              <a:rPr lang="sv-SE" smtClean="0"/>
              <a:t>2025-04-2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073011-F4CD-4A21-A8C1-CA3F6754DF5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771413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73011-F4CD-4A21-A8C1-CA3F6754DF53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062156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073011-F4CD-4A21-A8C1-CA3F6754DF53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62407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A5194270-83B6-A55F-D3FF-A126547510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underrubrik</a:t>
            </a:r>
            <a:endParaRPr lang="en-US" dirty="0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244F8B15-58B1-2E90-1802-6F4E92C0845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4171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format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12B957DE-64F3-C89A-39F1-D0291AD127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E60FA1F-B6CA-4B46-9597-56F4530F7420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D0CD91E-220E-4904-A1F0-F78096E9A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9AE31B5-5254-4A74-6724-44C627CB97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8771841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format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8" name="Platshållare för datum 3">
            <a:extLst>
              <a:ext uri="{FF2B5EF4-FFF2-40B4-BE49-F238E27FC236}">
                <a16:creationId xmlns:a16="http://schemas.microsoft.com/office/drawing/2014/main" id="{DA706DCF-9171-8087-EC6A-D9FACA0C1E3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AD0E7A6-AE29-4828-8EED-037A6B9009EA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9" name="Platshållare för sidfot 4">
            <a:extLst>
              <a:ext uri="{FF2B5EF4-FFF2-40B4-BE49-F238E27FC236}">
                <a16:creationId xmlns:a16="http://schemas.microsoft.com/office/drawing/2014/main" id="{0A71FC9C-1584-8A2F-C4EF-0B37FFE0F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4C2C239C-E658-7070-C0BC-E778536E9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29207084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l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16386569-DA0D-4783-86EC-67A11FBDDEE2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0" y="0"/>
            <a:ext cx="11862000" cy="6552000"/>
          </a:xfrm>
          <a:custGeom>
            <a:avLst/>
            <a:gdLst/>
            <a:ahLst/>
            <a:cxnLst/>
            <a:rect l="l" t="t" r="r" b="b"/>
            <a:pathLst>
              <a:path w="11862000" h="6552000">
                <a:moveTo>
                  <a:pt x="0" y="0"/>
                </a:moveTo>
                <a:lnTo>
                  <a:pt x="11862000" y="0"/>
                </a:lnTo>
                <a:lnTo>
                  <a:pt x="11862000" y="5414062"/>
                </a:lnTo>
                <a:lnTo>
                  <a:pt x="11780700" y="5418167"/>
                </a:lnTo>
                <a:cubicBezTo>
                  <a:pt x="11269385" y="5470094"/>
                  <a:pt x="10855402" y="5851263"/>
                  <a:pt x="10754096" y="6346330"/>
                </a:cubicBezTo>
                <a:lnTo>
                  <a:pt x="10733363" y="6552000"/>
                </a:lnTo>
                <a:lnTo>
                  <a:pt x="0" y="6552000"/>
                </a:lnTo>
                <a:close/>
              </a:path>
            </a:pathLst>
          </a:custGeom>
        </p:spPr>
        <p:txBody>
          <a:bodyPr wrap="square" anchor="ctr" anchorCtr="1">
            <a:noAutofit/>
          </a:bodyPr>
          <a:lstStyle>
            <a:lvl1pPr marL="0" indent="0" algn="ctr">
              <a:lnSpc>
                <a:spcPct val="200000"/>
              </a:lnSpc>
              <a:buFontTx/>
              <a:buNone/>
              <a:defRPr sz="240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bild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 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F06F227-57FA-49A3-97BD-1B27E993ACBD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0736041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blå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C45A6C9D-C2F9-BEA7-4EAE-7948F072B55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D69891F-7F43-4EBC-87CA-86C37D690BD4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9E2DCE60-FD3E-95E2-4A9B-287FAAE29E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1E68585F-58CF-FC4B-FD92-86898C9562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948689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00068579-9080-EE29-D9A4-3E56BF8550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FE586BAB-9EEF-4B06-B77F-822919DD1E7D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CE7776F5-8B54-2D91-99C9-B11E98F95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723668E9-8B04-52B3-F7CA-27B4B4D49E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830775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vsnittsrubrik vi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5051D5E-8234-4FE1-A794-EDA62F1A14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C39D4FA4-1020-4858-AFFD-B42ADD9A02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9AA0B6B-7AF9-4DB1-9AD8-B53FE065E1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/>
          <a:lstStyle/>
          <a:p>
            <a:fld id="{3001A785-8427-4ACF-8D68-053FEA8D152B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73734F-9E81-4EBF-828B-55E45024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4B4E38FE-8DC6-480D-A933-4F56F2E695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681137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 yta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C713A04-296D-4A5E-4FD1-2789A0A7A69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1FCD157-0A2C-4AAC-962C-4319DA53B03C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8395FDC-DEF1-0B01-E4BC-720A0E3966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CD5DDAFD-3E9D-0E37-16AE-9E369BFC5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63236904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m yt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1">
            <a:extLst>
              <a:ext uri="{FF2B5EF4-FFF2-40B4-BE49-F238E27FC236}">
                <a16:creationId xmlns:a16="http://schemas.microsoft.com/office/drawing/2014/main" id="{9A4AEAF6-85EC-150D-D807-A8F0E68C11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2" name="Platshållare för datum 3">
            <a:extLst>
              <a:ext uri="{FF2B5EF4-FFF2-40B4-BE49-F238E27FC236}">
                <a16:creationId xmlns:a16="http://schemas.microsoft.com/office/drawing/2014/main" id="{E778A0B9-2D69-0ABE-7F68-813023F532D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8171146-AEE4-4C35-B459-B938E6802B17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553A5AA-2251-BCEF-BA4A-5055B3BFD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F48269D-D5CC-FFEA-8A05-8CB6B03F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1922868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 yta utan logotyp neutra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400ECA7-AE51-F08E-9F74-11BB66F2A0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35153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5C43E44-399B-AD66-852B-6FBB2BFD8E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C5AEBDB0-46AE-40AB-B6F1-75EEA8B6B06E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0723245D-44EA-5763-8400-5C566DC9C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AD75F367-E644-E422-4C41-32675F04A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14547956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Jämförelse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5109971-4745-4ECE-8A5C-4E00F03AC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24521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96A0ADB-768E-4380-A0DC-DA924401FB7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600" y="1241051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419755C-5DBD-4541-AA01-2558E5D3050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09600" y="2221492"/>
            <a:ext cx="5157787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C84B153F-E910-4E67-86A0-0C4BB4976259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382650" y="1241051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/>
              <a:t>Klicka här för att ändra underrubrik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5E39F378-447A-4833-854F-DDA68DE3796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399212" y="2221492"/>
            <a:ext cx="5183188" cy="3968170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5CC8557A-39E5-2439-2E43-5C8D95645E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AA5BADEF-8F84-45D8-AB78-79E0427D4A12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876B45AE-5CCD-6B94-7A25-A15B3FF337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15478B75-428F-A1D7-E746-ADC7752774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43723153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74B17208-3F22-4DF6-B2AB-2683AB098CC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underrubrik</a:t>
            </a:r>
            <a:endParaRPr lang="en-US" dirty="0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AFE24852-164B-CFDE-B769-790BC3263B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4D73F0A0-3A2F-4832-BE53-6B8B6864E3E5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CCC1B95F-8FF6-795C-71C7-EF6DB9AB23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6D013B1D-5E77-D5A6-6127-FB27ABDC7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5268180F-B84D-0F44-B4B5-93A7D7845BE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72817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accent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accent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0"/>
            <a:ext cx="5880100" cy="6557963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6BE9932-6652-2F68-1034-24E5E46509C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056C4D66-1807-4776-9F16-AA3C32A246C1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163ED8F1-3338-F67C-7AF6-F651A8C4D8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A0CF44F-A949-73AD-6632-4E606E5731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2256618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grädde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17758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</a:t>
            </a:r>
            <a:br>
              <a:rPr lang="sv-SE" dirty="0"/>
            </a:b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3E7D6E2E-8A4F-D98F-225B-724A74A076A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738A8468-28CB-4E66-9D43-5E9BC9263E51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4339C906-0FFF-0D74-2AA4-386DD03BE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0559915-C442-FFF4-7F3F-17BD49981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3622152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vsidesbild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5181600" cy="11430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5C763317-F411-4D62-BE3D-5C26FC77F3B8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600201"/>
            <a:ext cx="5181600" cy="47687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1pPr>
            <a:lvl2pPr>
              <a:spcBef>
                <a:spcPts val="10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19" name="Platshållare för bild 18">
            <a:extLst>
              <a:ext uri="{FF2B5EF4-FFF2-40B4-BE49-F238E27FC236}">
                <a16:creationId xmlns:a16="http://schemas.microsoft.com/office/drawing/2014/main" id="{D6486219-2215-4369-90BE-9897A751A24C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5969000" y="1"/>
            <a:ext cx="5880100" cy="6525320"/>
          </a:xfrm>
          <a:custGeom>
            <a:avLst/>
            <a:gdLst/>
            <a:ahLst/>
            <a:cxnLst/>
            <a:rect l="l" t="t" r="r" b="b"/>
            <a:pathLst>
              <a:path w="5880100" h="6557963">
                <a:moveTo>
                  <a:pt x="0" y="0"/>
                </a:moveTo>
                <a:lnTo>
                  <a:pt x="5880100" y="0"/>
                </a:lnTo>
                <a:lnTo>
                  <a:pt x="5880100" y="5413848"/>
                </a:lnTo>
                <a:lnTo>
                  <a:pt x="5815773" y="5417096"/>
                </a:lnTo>
                <a:cubicBezTo>
                  <a:pt x="5265126" y="5473017"/>
                  <a:pt x="4827361" y="5910782"/>
                  <a:pt x="4771440" y="6461429"/>
                </a:cubicBezTo>
                <a:lnTo>
                  <a:pt x="4766565" y="6557963"/>
                </a:lnTo>
                <a:lnTo>
                  <a:pt x="0" y="6557963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8BAF8B48-190A-CD33-0203-CB9E94B0B91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2832F019-68C5-4A37-B2E1-1C87E0510245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21C96D5D-12A1-49BC-3215-73D03C7CA8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292DD92-F84D-6372-5A07-8F06DBCC08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565952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blå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bg2"/>
                </a:solidFill>
              </a:defRPr>
            </a:lvl1pPr>
          </a:lstStyle>
          <a:p>
            <a:br>
              <a:rPr lang="sv-SE" dirty="0"/>
            </a:br>
            <a:br>
              <a:rPr lang="sv-SE" dirty="0"/>
            </a:br>
            <a:endParaRPr lang="sv-SE" dirty="0"/>
          </a:p>
          <a:p>
            <a:endParaRPr lang="sv-SE" dirty="0"/>
          </a:p>
          <a:p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711843"/>
            <a:ext cx="3932237" cy="4523858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78BE36-5D03-B947-50CF-2E825EAABC9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89B2D01C-7309-43AD-BB51-C03D02FBFE6F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09C34CAE-7C61-6971-4E6A-D3B61E0579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E9808DA3-999C-3634-67E5-C32D4F1EE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1237509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gräd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>
                <a:solidFill>
                  <a:schemeClr val="tx2"/>
                </a:solidFill>
              </a:defRPr>
            </a:lvl1pPr>
          </a:lstStyle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1088"/>
          </a:xfrm>
        </p:spPr>
        <p:txBody>
          <a:bodyPr anchor="t" anchorCtr="0"/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5288"/>
            <a:ext cx="3932237" cy="4570413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2"/>
              </a:buClr>
              <a:buFont typeface="Arial" panose="020B0604020202020204" pitchFamily="34" charset="0"/>
              <a:buChar char="•"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EC997379-AA57-FFC0-C67C-2D47D22C2EB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74411" y="6530791"/>
            <a:ext cx="995364" cy="273555"/>
          </a:xfrm>
          <a:prstGeom prst="rect">
            <a:avLst/>
          </a:prstGeom>
        </p:spPr>
        <p:txBody>
          <a:bodyPr/>
          <a:lstStyle/>
          <a:p>
            <a:fld id="{3EE0776E-56C1-4163-BBDC-05D27C5158B9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0EE9DDD-8D27-BD71-D6BB-11AB844D7D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242441" y="6513520"/>
            <a:ext cx="8794963" cy="300235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03F8E2E3-7B29-03BC-3B15-8990B12843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67768" y="6513520"/>
            <a:ext cx="637660" cy="300235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823432870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104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 med bildtext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tshållare för bild 16">
            <a:extLst>
              <a:ext uri="{FF2B5EF4-FFF2-40B4-BE49-F238E27FC236}">
                <a16:creationId xmlns:a16="http://schemas.microsoft.com/office/drawing/2014/main" id="{AD94CA0B-BF75-4D87-8705-6B5298FD7CD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904894" y="0"/>
            <a:ext cx="6947669" cy="6538636"/>
          </a:xfrm>
          <a:custGeom>
            <a:avLst/>
            <a:gdLst/>
            <a:ahLst/>
            <a:cxnLst/>
            <a:rect l="l" t="t" r="r" b="b"/>
            <a:pathLst>
              <a:path w="6947669" h="6264000">
                <a:moveTo>
                  <a:pt x="0" y="0"/>
                </a:moveTo>
                <a:lnTo>
                  <a:pt x="6947669" y="0"/>
                </a:lnTo>
                <a:lnTo>
                  <a:pt x="6947669" y="5141325"/>
                </a:lnTo>
                <a:lnTo>
                  <a:pt x="6873812" y="5145055"/>
                </a:lnTo>
                <a:cubicBezTo>
                  <a:pt x="6323165" y="5200976"/>
                  <a:pt x="5885400" y="5638741"/>
                  <a:pt x="5829479" y="6189389"/>
                </a:cubicBezTo>
                <a:lnTo>
                  <a:pt x="5825711" y="6264000"/>
                </a:lnTo>
                <a:lnTo>
                  <a:pt x="0" y="6264000"/>
                </a:lnTo>
                <a:close/>
              </a:path>
            </a:pathLst>
          </a:custGeom>
        </p:spPr>
        <p:txBody>
          <a:bodyPr wrap="square" anchor="ctr" anchorCtr="0">
            <a:no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Tx/>
              <a:buNone/>
              <a:defRPr sz="2000"/>
            </a:lvl1pPr>
          </a:lstStyle>
          <a:p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för att </a:t>
            </a:r>
            <a:br>
              <a:rPr lang="sv-SE" dirty="0"/>
            </a:br>
            <a:r>
              <a:rPr lang="sv-SE" dirty="0"/>
              <a:t>infoga en bild, som fyller ut </a:t>
            </a:r>
            <a:br>
              <a:rPr lang="sv-SE" dirty="0"/>
            </a:br>
            <a:r>
              <a:rPr lang="sv-SE" dirty="0"/>
              <a:t>platshållaren med rundat hörn.</a:t>
            </a:r>
            <a:endParaRPr lang="en-US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9EBF9E0C-BEB5-4F8D-9A18-C5E7E941A8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3932237" cy="1170000"/>
          </a:xfrm>
        </p:spPr>
        <p:txBody>
          <a:bodyPr anchor="t" anchorCtr="0"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A63E5C69-658D-4A13-BCB5-8E05A291B18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609600" y="1669313"/>
            <a:ext cx="3932237" cy="4587654"/>
          </a:xfrm>
        </p:spPr>
        <p:txBody>
          <a:bodyPr/>
          <a:lstStyle>
            <a:lvl1pPr marL="342900" indent="-342900">
              <a:lnSpc>
                <a:spcPct val="110000"/>
              </a:lnSpc>
              <a:buClr>
                <a:schemeClr val="tx1"/>
              </a:buClr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 dirty="0"/>
              <a:t>Skriv text här</a:t>
            </a:r>
          </a:p>
        </p:txBody>
      </p:sp>
      <p:sp>
        <p:nvSpPr>
          <p:cNvPr id="3" name="Platshållare för datum 3">
            <a:extLst>
              <a:ext uri="{FF2B5EF4-FFF2-40B4-BE49-F238E27FC236}">
                <a16:creationId xmlns:a16="http://schemas.microsoft.com/office/drawing/2014/main" id="{7237D1B6-089F-FE4A-553A-91F3A004805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BBB410BE-CF1F-4E5F-9DCA-D51FBE5FB1D3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2C55B8E2-0B30-8F03-4864-C893D054A4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3F34B608-4D46-FA27-659B-1A66156B2C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3391091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utbild_med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5278399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utbild_med bild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8784983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utbild_med bil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8245193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lutbild_med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C30C2DA-4F3E-427C-8338-E3FE1B9EB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65772" y="4035405"/>
            <a:ext cx="4384966" cy="1471543"/>
          </a:xfrm>
        </p:spPr>
        <p:txBody>
          <a:bodyPr/>
          <a:lstStyle>
            <a:lvl1pPr algn="l">
              <a:defRPr sz="80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TACK!</a:t>
            </a:r>
            <a:endParaRPr lang="en-US" dirty="0"/>
          </a:p>
        </p:txBody>
      </p:sp>
      <p:sp>
        <p:nvSpPr>
          <p:cNvPr id="6" name="Platshållare för datum 3">
            <a:extLst>
              <a:ext uri="{FF2B5EF4-FFF2-40B4-BE49-F238E27FC236}">
                <a16:creationId xmlns:a16="http://schemas.microsoft.com/office/drawing/2014/main" id="{A0325C9A-5075-35A3-085F-FBE546D3B5D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140B3BAA-58DF-4A23-910A-712F9B42C53D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9DADDCC5-B712-C7AC-E5DD-CBF3BDEB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0D32486-0131-CF98-3960-15D38D49F9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2416918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bild neutra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9A07AEC-4933-4E73-917F-A4A367715DC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14400" y="1700809"/>
            <a:ext cx="10363200" cy="1470025"/>
          </a:xfrm>
        </p:spPr>
        <p:txBody>
          <a:bodyPr anchor="b"/>
          <a:lstStyle>
            <a:lvl1pPr algn="ctr">
              <a:lnSpc>
                <a:spcPct val="110000"/>
              </a:lnSpc>
              <a:defRPr sz="44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5" name="Platshållare för datum 3">
            <a:extLst>
              <a:ext uri="{FF2B5EF4-FFF2-40B4-BE49-F238E27FC236}">
                <a16:creationId xmlns:a16="http://schemas.microsoft.com/office/drawing/2014/main" id="{7504EE9F-131D-EFB7-2A79-B3DD8BF9A10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60952" y="6486545"/>
            <a:ext cx="1060175" cy="354182"/>
          </a:xfrm>
          <a:prstGeom prst="rect">
            <a:avLst/>
          </a:prstGeom>
        </p:spPr>
        <p:txBody>
          <a:bodyPr/>
          <a:lstStyle/>
          <a:p>
            <a:fld id="{38300729-9120-4936-A615-CF043BDAE2EC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7" name="Platshållare för sidfot 4">
            <a:extLst>
              <a:ext uri="{FF2B5EF4-FFF2-40B4-BE49-F238E27FC236}">
                <a16:creationId xmlns:a16="http://schemas.microsoft.com/office/drawing/2014/main" id="{53945A83-9CF5-D3E1-4AC0-51BF060AD9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721127" y="6469274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7E25ADB-6596-015B-3496-5779FCC53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77600" y="6469274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95E7C8D-E10A-96EA-A696-E14A4D299E6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28800" y="3404592"/>
            <a:ext cx="8534400" cy="1108414"/>
          </a:xfrm>
        </p:spPr>
        <p:txBody>
          <a:bodyPr/>
          <a:lstStyle>
            <a:lvl1pPr marL="0" indent="0" algn="ctr">
              <a:lnSpc>
                <a:spcPct val="110000"/>
              </a:lnSpc>
              <a:buNone/>
              <a:defRPr sz="2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licka här för att ändra underrubrik</a:t>
            </a:r>
            <a:endParaRPr lang="en-US" dirty="0"/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C8E3E256-BBF3-D765-FDC4-A130C5C5C9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87284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868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1744271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1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 baseline="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30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F369186-E3DF-440E-977F-FB2B3216E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56F01782-C5A9-40B6-AB6E-8DE9881C3C7C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D42A9194-8EFD-4250-AB50-26F4F10DA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D05CBE-4A1F-49DC-8E48-BBEEB3E60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563580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gräd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30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40BFD82-33C4-3884-7512-07CF043CC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9CA4B8-A0BB-4502-821F-7B06CCF7898B}" type="datetime1">
              <a:rPr lang="sv-SE" smtClean="0"/>
              <a:t>2025-04-28</a:t>
            </a:fld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E4827E4A-6513-E2F8-83CE-0D930C8FBE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12720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 neutra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91CEC2D-54D3-4A2F-A308-910BC7CA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58943"/>
            <a:ext cx="10972800" cy="745786"/>
          </a:xfrm>
        </p:spPr>
        <p:txBody>
          <a:bodyPr anchor="t" anchorCtr="0"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EA48A55-5944-49AA-AEC9-DCE7F4FA134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600" y="1275907"/>
            <a:ext cx="10972800" cy="4850257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1"/>
              </a:buClr>
              <a:defRPr sz="3000">
                <a:solidFill>
                  <a:schemeClr val="tx1"/>
                </a:solidFill>
              </a:defRPr>
            </a:lvl1pPr>
            <a:lvl2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800">
                <a:solidFill>
                  <a:schemeClr val="tx1"/>
                </a:solidFill>
              </a:defRPr>
            </a:lvl2pPr>
            <a:lvl3pPr>
              <a:lnSpc>
                <a:spcPct val="110000"/>
              </a:lnSpc>
              <a:spcBef>
                <a:spcPts val="800"/>
              </a:spcBef>
              <a:buClr>
                <a:schemeClr val="tx1"/>
              </a:buClr>
              <a:defRPr sz="2400">
                <a:solidFill>
                  <a:schemeClr val="tx1"/>
                </a:solidFill>
              </a:defRPr>
            </a:lvl3pPr>
            <a:lvl4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4pPr>
            <a:lvl5pPr>
              <a:lnSpc>
                <a:spcPct val="110000"/>
              </a:lnSpc>
              <a:spcBef>
                <a:spcPts val="800"/>
              </a:spcBef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</p:txBody>
      </p:sp>
      <p:sp>
        <p:nvSpPr>
          <p:cNvPr id="7" name="Platshållare för datum 3">
            <a:extLst>
              <a:ext uri="{FF2B5EF4-FFF2-40B4-BE49-F238E27FC236}">
                <a16:creationId xmlns:a16="http://schemas.microsoft.com/office/drawing/2014/main" id="{286F81BD-23A4-14C0-EED6-2E592018971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92A9DB68-DDFE-43CD-983D-4BE2E622E370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8" name="Platshållare för sidfot 4">
            <a:extLst>
              <a:ext uri="{FF2B5EF4-FFF2-40B4-BE49-F238E27FC236}">
                <a16:creationId xmlns:a16="http://schemas.microsoft.com/office/drawing/2014/main" id="{E2194FC6-79A2-A4A8-930C-D8014F0C30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9" name="Platshållare för bildnummer 5">
            <a:extLst>
              <a:ext uri="{FF2B5EF4-FFF2-40B4-BE49-F238E27FC236}">
                <a16:creationId xmlns:a16="http://schemas.microsoft.com/office/drawing/2014/main" id="{D89DBB4E-248F-B506-05F9-B9F1522260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42794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Två delar två färg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360000"/>
            <a:ext cx="5181600" cy="1143000"/>
          </a:xfrm>
        </p:spPr>
        <p:txBody>
          <a:bodyPr/>
          <a:lstStyle>
            <a:lvl1pPr>
              <a:defRPr sz="3600"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tx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tx2"/>
                </a:solidFill>
              </a:defRPr>
            </a:lvl2pPr>
            <a:lvl3pPr marL="86400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	      </a:t>
            </a:r>
          </a:p>
          <a:p>
            <a:pPr marL="864000" marR="0" lvl="2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       </a:t>
            </a:r>
            <a:br>
              <a:rPr lang="sv-SE" dirty="0"/>
            </a:br>
            <a:r>
              <a:rPr lang="sv-SE" dirty="0"/>
              <a:t>         Välj ikon och infoga </a:t>
            </a:r>
            <a:endParaRPr lang="en-US" dirty="0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4E0B0FE2-E5A1-BE14-1AD7-F11C3D70D2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0FE638B-B983-49DA-8849-8ECEE52DAC0E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10" name="Platshållare för sidfot 4">
            <a:extLst>
              <a:ext uri="{FF2B5EF4-FFF2-40B4-BE49-F238E27FC236}">
                <a16:creationId xmlns:a16="http://schemas.microsoft.com/office/drawing/2014/main" id="{F8DA2FBF-EA5B-22FE-04EC-31E4FD70FC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1" name="Platshållare för bildnummer 5">
            <a:extLst>
              <a:ext uri="{FF2B5EF4-FFF2-40B4-BE49-F238E27FC236}">
                <a16:creationId xmlns:a16="http://schemas.microsoft.com/office/drawing/2014/main" id="{303A1DB8-A381-F782-B96A-BEBB198BF8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822935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Två delar två färger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2098311B-514A-4DC4-8FD1-424CB79B5F36}"/>
              </a:ext>
            </a:extLst>
          </p:cNvPr>
          <p:cNvSpPr/>
          <p:nvPr/>
        </p:nvSpPr>
        <p:spPr>
          <a:xfrm>
            <a:off x="0" y="-116964"/>
            <a:ext cx="6096000" cy="66772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599" y="360000"/>
            <a:ext cx="5181599" cy="1143000"/>
          </a:xfrm>
        </p:spPr>
        <p:txBody>
          <a:bodyPr/>
          <a:lstStyle>
            <a:lvl1pPr>
              <a:defRPr sz="3600">
                <a:solidFill>
                  <a:schemeClr val="tx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708660"/>
            <a:ext cx="5181600" cy="4518401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tx2"/>
              </a:buClr>
              <a:defRPr sz="2800">
                <a:solidFill>
                  <a:schemeClr val="tx2"/>
                </a:solidFill>
              </a:defRPr>
            </a:lvl1pPr>
            <a:lvl2pPr>
              <a:spcBef>
                <a:spcPts val="1000"/>
              </a:spcBef>
              <a:buClr>
                <a:schemeClr val="tx2"/>
              </a:buClr>
              <a:defRPr sz="2400">
                <a:solidFill>
                  <a:schemeClr val="tx2"/>
                </a:solidFill>
              </a:defRPr>
            </a:lvl2pPr>
            <a:lvl3pPr>
              <a:lnSpc>
                <a:spcPct val="110000"/>
              </a:lnSpc>
              <a:defRPr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>
                <a:solidFill>
                  <a:schemeClr val="bg2"/>
                </a:solidFill>
              </a:defRPr>
            </a:lvl4pPr>
            <a:lvl5pPr>
              <a:lnSpc>
                <a:spcPct val="110000"/>
              </a:lnSpc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08645" y="360000"/>
            <a:ext cx="5181600" cy="5874623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defRPr sz="2400">
                <a:solidFill>
                  <a:schemeClr val="bg2"/>
                </a:solidFill>
              </a:defRPr>
            </a:lvl2pPr>
            <a:lvl3pPr marL="914400" indent="0">
              <a:lnSpc>
                <a:spcPct val="110000"/>
              </a:lnSpc>
              <a:buNone/>
              <a:defRPr sz="2000">
                <a:solidFill>
                  <a:schemeClr val="bg2"/>
                </a:solidFill>
              </a:defRPr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 </a:t>
            </a:r>
          </a:p>
          <a:p>
            <a:pPr marL="914400" marR="0" lvl="2" indent="0" algn="l" defTabSz="914400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    </a:t>
            </a:r>
            <a:br>
              <a:rPr lang="sv-SE" dirty="0"/>
            </a:br>
            <a:r>
              <a:rPr lang="sv-SE" dirty="0"/>
              <a:t>        Välj ikon och infoga </a:t>
            </a:r>
            <a:endParaRPr lang="en-US" dirty="0"/>
          </a:p>
          <a:p>
            <a:pPr lvl="2"/>
            <a:endParaRPr lang="en-US" dirty="0"/>
          </a:p>
        </p:txBody>
      </p:sp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88D03FBB-21E9-F008-E283-AC075F25E47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/>
          <a:lstStyle/>
          <a:p>
            <a:fld id="{EE2A05A5-1053-4521-A641-398E3840E3CC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11" name="Platshållare för sidfot 4">
            <a:extLst>
              <a:ext uri="{FF2B5EF4-FFF2-40B4-BE49-F238E27FC236}">
                <a16:creationId xmlns:a16="http://schemas.microsoft.com/office/drawing/2014/main" id="{F51FF841-B022-4350-1DDE-49C4EA07526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13520"/>
            <a:ext cx="9367630" cy="388726"/>
          </a:xfrm>
          <a:prstGeom prst="rect">
            <a:avLst/>
          </a:prstGeom>
        </p:spPr>
        <p:txBody>
          <a:bodyPr anchor="ctr"/>
          <a:lstStyle>
            <a:lvl1pPr>
              <a:defRPr lang="sv-SE" sz="1200" kern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sv-SE" dirty="0"/>
          </a:p>
        </p:txBody>
      </p:sp>
      <p:sp>
        <p:nvSpPr>
          <p:cNvPr id="12" name="Platshållare för bildnummer 5">
            <a:extLst>
              <a:ext uri="{FF2B5EF4-FFF2-40B4-BE49-F238E27FC236}">
                <a16:creationId xmlns:a16="http://schemas.microsoft.com/office/drawing/2014/main" id="{04A3BADF-81F6-BE5B-EF7B-1C79884EBE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26248" y="6513520"/>
            <a:ext cx="679180" cy="388726"/>
          </a:xfrm>
        </p:spPr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43819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sldNum="0" hdr="0" ftr="0" dt="0"/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vå delar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386BA53-80CA-499D-B273-3926ACA41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sv-SE" dirty="0"/>
              <a:t>Klicka här för att ändra rubrik</a:t>
            </a:r>
            <a:endParaRPr lang="en-US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3CB0A19-16FC-4B79-906D-1C26618BA5B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09600" y="1297173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BFC9B3A-2DF1-4323-8ED3-55CBECCB975D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297172"/>
            <a:ext cx="5181600" cy="4828992"/>
          </a:xfrm>
        </p:spPr>
        <p:txBody>
          <a:bodyPr/>
          <a:lstStyle>
            <a:lvl1pPr>
              <a:lnSpc>
                <a:spcPct val="110000"/>
              </a:lnSpc>
              <a:spcBef>
                <a:spcPts val="1600"/>
              </a:spcBef>
              <a:buClr>
                <a:schemeClr val="bg2"/>
              </a:buClr>
              <a:defRPr sz="2800">
                <a:solidFill>
                  <a:schemeClr val="bg2"/>
                </a:solidFill>
              </a:defRPr>
            </a:lvl1pPr>
            <a:lvl2pPr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defRPr sz="2400">
                <a:solidFill>
                  <a:schemeClr val="bg2"/>
                </a:solidFill>
              </a:defRPr>
            </a:lvl2pPr>
            <a:lvl3pPr>
              <a:lnSpc>
                <a:spcPct val="110000"/>
              </a:lnSpc>
              <a:defRPr sz="2400"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 dirty="0"/>
              <a:t>Skriv text här</a:t>
            </a:r>
          </a:p>
          <a:p>
            <a:pPr lvl="1"/>
            <a:r>
              <a:rPr lang="sv-SE" dirty="0"/>
              <a:t>Nivå två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8D02EC5-E67C-4775-9C2D-C859085834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69775" y="6525320"/>
            <a:ext cx="9367630" cy="365125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CAE321A-11E3-462D-8B66-93319761E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4730AA7-F777-4CAC-8CCC-AEA20B9348DC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8" name="Platshållare för datum 4">
            <a:extLst>
              <a:ext uri="{FF2B5EF4-FFF2-40B4-BE49-F238E27FC236}">
                <a16:creationId xmlns:a16="http://schemas.microsoft.com/office/drawing/2014/main" id="{977FB61D-B955-2B9F-074D-81DF541683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4754" y="6525320"/>
            <a:ext cx="1085021" cy="365125"/>
          </a:xfrm>
          <a:prstGeom prst="rect">
            <a:avLst/>
          </a:prstGeom>
        </p:spPr>
        <p:txBody>
          <a:bodyPr/>
          <a:lstStyle/>
          <a:p>
            <a:fld id="{3556A118-873A-4B52-9003-0908E6B2540D}" type="datetime1">
              <a:rPr lang="sv-SE" smtClean="0"/>
              <a:t>2025-04-28</a:t>
            </a:fld>
            <a:endParaRPr lang="sv-SE" dirty="0"/>
          </a:p>
        </p:txBody>
      </p:sp>
      <p:sp>
        <p:nvSpPr>
          <p:cNvPr id="9" name="Platshållare för datum 3">
            <a:extLst>
              <a:ext uri="{FF2B5EF4-FFF2-40B4-BE49-F238E27FC236}">
                <a16:creationId xmlns:a16="http://schemas.microsoft.com/office/drawing/2014/main" id="{8FC0B61D-7C97-F933-FE5D-D75EED9056F8}"/>
              </a:ext>
            </a:extLst>
          </p:cNvPr>
          <p:cNvSpPr txBox="1">
            <a:spLocks/>
          </p:cNvSpPr>
          <p:nvPr/>
        </p:nvSpPr>
        <p:spPr>
          <a:xfrm>
            <a:off x="609600" y="6530791"/>
            <a:ext cx="1060175" cy="35418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8317976-8A7C-4CAB-BF0F-0DC203C803A3}" type="datetime1">
              <a:rPr lang="sv-SE" smtClean="0"/>
              <a:pPr/>
              <a:t>2025-04-28</a:t>
            </a:fld>
            <a:endParaRPr lang="sv-SE" dirty="0"/>
          </a:p>
        </p:txBody>
      </p:sp>
      <p:sp>
        <p:nvSpPr>
          <p:cNvPr id="10" name="Platshållare för bildnummer 5">
            <a:extLst>
              <a:ext uri="{FF2B5EF4-FFF2-40B4-BE49-F238E27FC236}">
                <a16:creationId xmlns:a16="http://schemas.microsoft.com/office/drawing/2014/main" id="{225F7BBE-36A5-C806-7DFF-266F0BB893C6}"/>
              </a:ext>
            </a:extLst>
          </p:cNvPr>
          <p:cNvSpPr txBox="1">
            <a:spLocks/>
          </p:cNvSpPr>
          <p:nvPr/>
        </p:nvSpPr>
        <p:spPr>
          <a:xfrm>
            <a:off x="11226248" y="6513520"/>
            <a:ext cx="679180" cy="38872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4730AA7-F777-4CAC-8CCC-AEA20B9348DC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97608252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FD2AB036-DCCD-4091-86D3-9356430B4B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0000"/>
            <a:ext cx="10972800" cy="73515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dirty="0"/>
              <a:t>Klicka här för </a:t>
            </a:r>
            <a:r>
              <a:rPr lang="en-US" dirty="0" err="1"/>
              <a:t>att</a:t>
            </a:r>
            <a:r>
              <a:rPr lang="en-US" dirty="0"/>
              <a:t> </a:t>
            </a:r>
            <a:r>
              <a:rPr lang="en-US" dirty="0" err="1"/>
              <a:t>ändra</a:t>
            </a:r>
            <a:r>
              <a:rPr lang="en-US" dirty="0"/>
              <a:t> </a:t>
            </a:r>
            <a:r>
              <a:rPr lang="en-US" dirty="0" err="1"/>
              <a:t>rubrikformat</a:t>
            </a:r>
            <a:endParaRPr lang="en-US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71996A95-48E2-4F6F-83D8-7449B280FD9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201479"/>
            <a:ext cx="10972800" cy="49246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Klicka här för att ändra format på bakgrundstexten</a:t>
            </a:r>
          </a:p>
          <a:p>
            <a:pPr lvl="1"/>
            <a:r>
              <a:rPr lang="en-US" dirty="0"/>
              <a:t>Nivå två</a:t>
            </a:r>
          </a:p>
          <a:p>
            <a:pPr lvl="2"/>
            <a:r>
              <a:rPr lang="en-US" dirty="0" err="1"/>
              <a:t>Nivå</a:t>
            </a:r>
            <a:r>
              <a:rPr lang="en-US" dirty="0"/>
              <a:t> </a:t>
            </a:r>
            <a:r>
              <a:rPr lang="en-US" dirty="0" err="1"/>
              <a:t>tre</a:t>
            </a:r>
            <a:endParaRPr lang="en-US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A9493F9-282B-4097-A7AF-FB6F8D34651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4754" y="6525320"/>
            <a:ext cx="9607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09CA4B8-A0BB-4502-821F-7B06CCF7898B}" type="datetime1">
              <a:rPr lang="sv-SE" smtClean="0"/>
              <a:t>2025-04-28</a:t>
            </a:fld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E3D0A82-13FD-4CDE-95C7-C0163891E9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26248" y="6525320"/>
            <a:ext cx="6791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730AA7-F777-4CAC-8CCC-AEA20B9348DC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Bildobjekt 5">
            <a:extLst>
              <a:ext uri="{FF2B5EF4-FFF2-40B4-BE49-F238E27FC236}">
                <a16:creationId xmlns:a16="http://schemas.microsoft.com/office/drawing/2014/main" id="{F7A0A58A-FC56-47DC-BCC8-CE51EE2570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5457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8D341EC8-D59E-2394-5413-AB70A2CA75C4}"/>
              </a:ext>
            </a:extLst>
          </p:cNvPr>
          <p:cNvPicPr>
            <a:picLocks noChangeAspect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11477" y="5853106"/>
            <a:ext cx="746613" cy="691200"/>
          </a:xfrm>
          <a:prstGeom prst="rect">
            <a:avLst/>
          </a:prstGeom>
        </p:spPr>
      </p:pic>
      <p:pic>
        <p:nvPicPr>
          <p:cNvPr id="5" name="Bildobjekt 5">
            <a:extLst>
              <a:ext uri="{FF2B5EF4-FFF2-40B4-BE49-F238E27FC236}">
                <a16:creationId xmlns:a16="http://schemas.microsoft.com/office/drawing/2014/main" id="{0CCB4B40-85AF-4E7F-6B7D-741C4943D8E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CB177329-B6D7-856B-ADBF-E3F7F9AA26D6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6192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702" r:id="rId28"/>
    <p:sldLayoutId id="2147483703" r:id="rId29"/>
    <p:sldLayoutId id="2147483704" r:id="rId30"/>
    <p:sldLayoutId id="2147483705" r:id="rId31"/>
    <p:sldLayoutId id="2147483649" r:id="rId32"/>
  </p:sldLayoutIdLst>
  <p:hf sldNum="0" hdr="0" ftr="0" dt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ritz.skane.se/sp?id=sc_cat_item&amp;sys_id=b7f4fe5098f18e54c8872fe51809d4da&amp;sysparm_category=e136453ccdc44990c887daaa11621560" TargetMode="External"/><Relationship Id="rId1" Type="http://schemas.openxmlformats.org/officeDocument/2006/relationships/slideLayout" Target="../slideLayouts/slideLayout3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SDVUtrullningITMT@skane.se" TargetMode="External"/><Relationship Id="rId2" Type="http://schemas.openxmlformats.org/officeDocument/2006/relationships/slide" Target="slide7.xml"/><Relationship Id="rId1" Type="http://schemas.openxmlformats.org/officeDocument/2006/relationships/slideLayout" Target="../slideLayouts/slideLayout3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10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C1181DBF-760E-E6C7-AD8B-D0DD452F1C3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Ultraljudsapparater i SDV</a:t>
            </a:r>
            <a:br>
              <a:rPr lang="sv-SE" dirty="0"/>
            </a:b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1558163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95FEA58-4076-12FD-0ABC-681FEFC378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sv-SE">
                <a:cs typeface="Arial"/>
              </a:rPr>
              <a:t>Vad händer efter inventeringen?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8A62EA9-27ED-2782-88DD-11350E1AF6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4"/>
            <a:ext cx="10442575" cy="4627141"/>
          </a:xfrm>
        </p:spPr>
        <p:txBody>
          <a:bodyPr lIns="91440" tIns="45720" rIns="91440" bIns="45720" anchor="t"/>
          <a:lstStyle/>
          <a:p>
            <a:pPr marL="251460" indent="-251460"/>
            <a:r>
              <a:rPr lang="sv-SE" sz="2000" dirty="0">
                <a:cs typeface="Arial"/>
              </a:rPr>
              <a:t>Första </a:t>
            </a:r>
            <a:r>
              <a:rPr lang="sv-SE" sz="2000" dirty="0" err="1">
                <a:cs typeface="Arial"/>
              </a:rPr>
              <a:t>driftstart</a:t>
            </a:r>
            <a:r>
              <a:rPr lang="sv-SE" sz="2000" dirty="0">
                <a:cs typeface="Arial"/>
              </a:rPr>
              <a:t> (inga privata vårdgivare): </a:t>
            </a:r>
          </a:p>
          <a:p>
            <a:pPr marL="503460" lvl="1" indent="-251460"/>
            <a:r>
              <a:rPr lang="sv-SE" sz="1600" dirty="0">
                <a:cs typeface="Arial"/>
              </a:rPr>
              <a:t>För de eventuella ultraljudsapparater som inte är uppkopplade till </a:t>
            </a:r>
            <a:r>
              <a:rPr lang="sv-SE" sz="1600" dirty="0" err="1">
                <a:cs typeface="Arial"/>
              </a:rPr>
              <a:t>Syngodynamics</a:t>
            </a:r>
            <a:r>
              <a:rPr lang="sv-SE" sz="1600" dirty="0">
                <a:cs typeface="Arial"/>
              </a:rPr>
              <a:t> idag:</a:t>
            </a:r>
          </a:p>
          <a:p>
            <a:pPr marL="755460" lvl="2" indent="-251460"/>
            <a:r>
              <a:rPr lang="sv-SE" dirty="0">
                <a:cs typeface="Arial"/>
              </a:rPr>
              <a:t>Köp DICOM-licenser om det saknas, alternativt uppgradera eller köp ny utrustning om kompatibilitet saknas</a:t>
            </a:r>
          </a:p>
          <a:p>
            <a:pPr marL="755460" lvl="2" indent="-251460"/>
            <a:r>
              <a:rPr lang="sv-SE" dirty="0">
                <a:cs typeface="Arial"/>
              </a:rPr>
              <a:t>Beställ uppkoppling till </a:t>
            </a:r>
            <a:r>
              <a:rPr lang="sv-SE" dirty="0" err="1">
                <a:cs typeface="Arial"/>
              </a:rPr>
              <a:t>SyngoDynamics</a:t>
            </a:r>
            <a:endParaRPr lang="sv-SE" dirty="0">
              <a:cs typeface="Arial"/>
            </a:endParaRPr>
          </a:p>
          <a:p>
            <a:pPr marL="504000" lvl="2" indent="0">
              <a:buNone/>
            </a:pPr>
            <a:endParaRPr lang="sv-SE" sz="1600" dirty="0"/>
          </a:p>
          <a:p>
            <a:pPr marL="251460" indent="-251460"/>
            <a:r>
              <a:rPr lang="sv-SE" sz="2000" dirty="0">
                <a:cs typeface="Arial"/>
              </a:rPr>
              <a:t>Efterföljande driftstarter (</a:t>
            </a:r>
            <a:r>
              <a:rPr lang="sv-SE" sz="2000" dirty="0" err="1">
                <a:cs typeface="Arial"/>
              </a:rPr>
              <a:t>inkl</a:t>
            </a:r>
            <a:r>
              <a:rPr lang="sv-SE" sz="2000" dirty="0">
                <a:cs typeface="Arial"/>
              </a:rPr>
              <a:t> privata vårdgivare): </a:t>
            </a:r>
          </a:p>
          <a:p>
            <a:pPr marL="503460" lvl="1" indent="-251460"/>
            <a:r>
              <a:rPr lang="sv-SE" sz="1600" dirty="0">
                <a:cs typeface="Arial"/>
              </a:rPr>
              <a:t>Beslut behöver tas från SDV-programmet och förvaltningsgruppen för ultraljud om:</a:t>
            </a:r>
          </a:p>
          <a:p>
            <a:pPr marL="755460" lvl="2" indent="-251460"/>
            <a:r>
              <a:rPr lang="sv-SE" dirty="0">
                <a:cs typeface="Arial"/>
              </a:rPr>
              <a:t>Eventuell vidareutveckling av integrationen för att möjliggöra manuell dokumentation i </a:t>
            </a:r>
            <a:r>
              <a:rPr lang="sv-SE" dirty="0" err="1">
                <a:cs typeface="Arial"/>
              </a:rPr>
              <a:t>SyngoDynamics</a:t>
            </a:r>
            <a:endParaRPr lang="sv-SE" dirty="0">
              <a:cs typeface="Arial"/>
            </a:endParaRPr>
          </a:p>
          <a:p>
            <a:pPr marL="755460" lvl="2" indent="-251460"/>
            <a:r>
              <a:rPr lang="sv-SE" dirty="0">
                <a:cs typeface="Arial"/>
              </a:rPr>
              <a:t>Eventuellt skarpt krav på att alla ultraljudsapparater ska kopplas till </a:t>
            </a:r>
            <a:r>
              <a:rPr lang="sv-SE" dirty="0" err="1">
                <a:cs typeface="Arial"/>
              </a:rPr>
              <a:t>SyngoDynamics</a:t>
            </a:r>
            <a:r>
              <a:rPr lang="sv-SE" dirty="0">
                <a:cs typeface="Arial"/>
              </a:rPr>
              <a:t>, </a:t>
            </a:r>
            <a:r>
              <a:rPr lang="sv-SE" dirty="0" err="1">
                <a:cs typeface="Arial"/>
              </a:rPr>
              <a:t>inkl</a:t>
            </a:r>
            <a:r>
              <a:rPr lang="sv-SE" dirty="0">
                <a:cs typeface="Arial"/>
              </a:rPr>
              <a:t> privata vårdgivare</a:t>
            </a:r>
          </a:p>
          <a:p>
            <a:pPr marL="503460" lvl="1" indent="-251460"/>
            <a:endParaRPr lang="sv-S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047884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3C61EB3-86D5-24CB-31F8-8BD88D3D8D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z="2800" dirty="0"/>
              <a:t>Hjälp på vägen… (gäller endast offentliga vårdgivare)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DEBE1FF-4947-9868-BD2B-8996C5811F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0899" y="1176500"/>
            <a:ext cx="10442575" cy="403225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sv-SE" sz="1800" dirty="0"/>
              <a:t>DICOM-kompatibilitet och licens</a:t>
            </a:r>
          </a:p>
          <a:p>
            <a:pPr>
              <a:lnSpc>
                <a:spcPct val="150000"/>
              </a:lnSpc>
            </a:pPr>
            <a:r>
              <a:rPr lang="sv-SE" sz="1400" dirty="0"/>
              <a:t>För kontroll av DICOM-kompatibilitet/licens kan servicemanual, åtkomst till avancerade inställningar och/eller kontakt med leverantör krävas. För att få hjälp med detta av MT-tekniker, registrera ett MT-ärende/förfrågan via Ritz, enligt ordinarie supportrutiner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800" dirty="0"/>
              <a:t>Beställning av DICOM-licens eller ny ultraljudsapparat</a:t>
            </a:r>
          </a:p>
          <a:p>
            <a:pPr>
              <a:lnSpc>
                <a:spcPct val="150000"/>
              </a:lnSpc>
            </a:pPr>
            <a:r>
              <a:rPr lang="sv-SE" sz="1400" dirty="0"/>
              <a:t>DICOM-licens beställs genom att offert efterfrågas från leverantör, därefter sker beställning av licensen via Ritz</a:t>
            </a:r>
          </a:p>
          <a:p>
            <a:pPr>
              <a:lnSpc>
                <a:spcPct val="150000"/>
              </a:lnSpc>
            </a:pPr>
            <a:r>
              <a:rPr lang="sv-SE" sz="1400" dirty="0"/>
              <a:t>I de fall DICOM-licens inte kan erhållas till en befintlig ultraljudsapparat behöver en ny beställas. Inköp av ultraljudsapparat sker enligt ordinarie rutiner för inköp av medicinteknisk utrustning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800" dirty="0"/>
              <a:t>Koppla ultraljudsapparaten till </a:t>
            </a:r>
            <a:r>
              <a:rPr lang="sv-SE" sz="1800" dirty="0" err="1"/>
              <a:t>Syngodynamics</a:t>
            </a:r>
            <a:endParaRPr lang="sv-SE" sz="1800" dirty="0"/>
          </a:p>
          <a:p>
            <a:pPr>
              <a:lnSpc>
                <a:spcPct val="150000"/>
              </a:lnSpc>
            </a:pPr>
            <a:r>
              <a:rPr lang="sv-SE" sz="1400" dirty="0"/>
              <a:t>Använd beställningsformulär i Ritz: </a:t>
            </a:r>
            <a:r>
              <a:rPr lang="sv-SE" sz="1400" dirty="0">
                <a:hlinkClick r:id="rId2" tooltip="https://ritz.skane.se/sp?id=sc_cat_item&amp;sys_id=b7f4fe5098f18e54c8872fe51809d4da&amp;sysparm_category=e136453ccdc44990c887daaa11621560"/>
              </a:rPr>
              <a:t>Uppkoppling mot ISCV/</a:t>
            </a:r>
            <a:r>
              <a:rPr lang="sv-SE" sz="1400" dirty="0" err="1">
                <a:hlinkClick r:id="rId2" tooltip="https://ritz.skane.se/sp?id=sc_cat_item&amp;sys_id=b7f4fe5098f18e54c8872fe51809d4da&amp;sysparm_category=e136453ccdc44990c887daaa11621560"/>
              </a:rPr>
              <a:t>SyngoDynamics</a:t>
            </a:r>
            <a:r>
              <a:rPr lang="sv-SE" sz="1400" dirty="0">
                <a:hlinkClick r:id="rId2" tooltip="https://ritz.skane.se/sp?id=sc_cat_item&amp;sys_id=b7f4fe5098f18e54c8872fe51809d4da&amp;sysparm_category=e136453ccdc44990c887daaa11621560"/>
              </a:rPr>
              <a:t> - Service Portal (skane.se)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291792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1938D65-9167-14B8-37A3-3F8C500A52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sv-SE">
                <a:cs typeface="Arial"/>
              </a:rPr>
              <a:t>Omfattning och deadline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93FEA8-2FBA-4138-D229-84E5025BBE3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2" y="1331394"/>
            <a:ext cx="10043767" cy="4032250"/>
          </a:xfrm>
        </p:spPr>
        <p:txBody>
          <a:bodyPr lIns="91440" tIns="45720" rIns="91440" bIns="45720" anchor="t"/>
          <a:lstStyle/>
          <a:p>
            <a:pPr marL="251460" indent="-251460"/>
            <a:r>
              <a:rPr lang="sv-SE" sz="1800" dirty="0">
                <a:cs typeface="Arial"/>
              </a:rPr>
              <a:t>Inventeringen behöver genomföras</a:t>
            </a:r>
          </a:p>
          <a:p>
            <a:pPr marL="502920" lvl="1" indent="-251460"/>
            <a:r>
              <a:rPr lang="sv-SE" sz="1400" dirty="0">
                <a:cs typeface="Arial"/>
              </a:rPr>
              <a:t>För samtliga driftstarter</a:t>
            </a:r>
          </a:p>
          <a:p>
            <a:pPr marL="502920" lvl="1" indent="-251460"/>
            <a:r>
              <a:rPr lang="sv-SE" sz="1400" dirty="0">
                <a:cs typeface="Arial"/>
              </a:rPr>
              <a:t>Av de verksamheter som utför ultraljudsundersökningar och dokumenterar i </a:t>
            </a:r>
            <a:r>
              <a:rPr lang="sv-SE" sz="1400" dirty="0" err="1">
                <a:cs typeface="Arial"/>
              </a:rPr>
              <a:t>Obstetrix</a:t>
            </a:r>
            <a:r>
              <a:rPr lang="sv-SE" sz="1400" dirty="0">
                <a:cs typeface="Arial"/>
              </a:rPr>
              <a:t> idag </a:t>
            </a:r>
            <a:r>
              <a:rPr lang="sv-SE" sz="1400" dirty="0">
                <a:cs typeface="Arial"/>
                <a:hlinkClick r:id="rId2" action="ppaction://hlinksldjump"/>
              </a:rPr>
              <a:t>(se bild 6)</a:t>
            </a:r>
            <a:endParaRPr lang="sv-SE" dirty="0">
              <a:cs typeface="Arial"/>
            </a:endParaRPr>
          </a:p>
          <a:p>
            <a:pPr marL="251460" indent="-251460"/>
            <a:r>
              <a:rPr lang="sv-SE" sz="1800" dirty="0">
                <a:cs typeface="Arial"/>
              </a:rPr>
              <a:t>Respektive IT/MT-projektledare:</a:t>
            </a:r>
          </a:p>
          <a:p>
            <a:pPr marL="502920" lvl="1" indent="-251460"/>
            <a:r>
              <a:rPr lang="sv-SE" sz="1400" dirty="0">
                <a:cs typeface="Arial"/>
              </a:rPr>
              <a:t>Ansvarar för att förmedla information till aktuella verksamheter/enheter inom sin förvaltning</a:t>
            </a:r>
          </a:p>
          <a:p>
            <a:pPr marL="502920" lvl="1" indent="-251460"/>
            <a:r>
              <a:rPr lang="sv-SE" sz="1400" dirty="0">
                <a:cs typeface="Arial"/>
              </a:rPr>
              <a:t>Samlar ihop inlämnat material i mappen </a:t>
            </a:r>
            <a:r>
              <a:rPr lang="sv-SE" sz="1400" i="1" dirty="0">
                <a:cs typeface="Arial"/>
              </a:rPr>
              <a:t>”Ultraljudsinventering” </a:t>
            </a:r>
            <a:r>
              <a:rPr lang="sv-SE" sz="1400" dirty="0">
                <a:cs typeface="Arial"/>
              </a:rPr>
              <a:t>på Teams</a:t>
            </a:r>
            <a:endParaRPr lang="sv-SE" sz="1800" dirty="0">
              <a:cs typeface="Arial"/>
            </a:endParaRPr>
          </a:p>
          <a:p>
            <a:pPr marL="251460" indent="-251460"/>
            <a:r>
              <a:rPr lang="sv-SE" sz="1800" dirty="0">
                <a:cs typeface="Arial"/>
              </a:rPr>
              <a:t>Respektive privat vårdgivare:</a:t>
            </a:r>
          </a:p>
          <a:p>
            <a:pPr marL="503460" lvl="1" indent="-251460"/>
            <a:r>
              <a:rPr lang="sv-SE" sz="1400" dirty="0">
                <a:cs typeface="Arial"/>
              </a:rPr>
              <a:t>Ansvarar för att förmedla information till aktuella verksamheter</a:t>
            </a:r>
          </a:p>
          <a:p>
            <a:pPr marL="503460" lvl="1" indent="-251460"/>
            <a:r>
              <a:rPr lang="sv-SE" sz="1400" dirty="0">
                <a:cs typeface="Arial"/>
              </a:rPr>
              <a:t>Samlar ihop inlämnat material och mailar till </a:t>
            </a:r>
            <a:r>
              <a:rPr lang="sv-SE" sz="1400" dirty="0">
                <a:cs typeface="Arial"/>
                <a:hlinkClick r:id="rId3"/>
              </a:rPr>
              <a:t>SDVUtrullningITMT@skane.se</a:t>
            </a:r>
            <a:endParaRPr lang="sv-SE" dirty="0">
              <a:cs typeface="Arial"/>
            </a:endParaRPr>
          </a:p>
          <a:p>
            <a:pPr marL="251460" indent="-251460"/>
            <a:r>
              <a:rPr lang="sv-SE" sz="1800" dirty="0">
                <a:cs typeface="Arial"/>
              </a:rPr>
              <a:t>Deadline</a:t>
            </a:r>
            <a:r>
              <a:rPr lang="sv-SE" dirty="0">
                <a:cs typeface="Arial"/>
              </a:rPr>
              <a:t> </a:t>
            </a:r>
          </a:p>
          <a:p>
            <a:pPr marL="502920" lvl="1" indent="-251460"/>
            <a:r>
              <a:rPr lang="sv-SE" sz="1400" dirty="0">
                <a:cs typeface="Arial"/>
              </a:rPr>
              <a:t>Verksamheter som ingår i första </a:t>
            </a:r>
            <a:r>
              <a:rPr lang="sv-SE" sz="1400" dirty="0" err="1">
                <a:cs typeface="Arial"/>
              </a:rPr>
              <a:t>driftstart</a:t>
            </a:r>
            <a:r>
              <a:rPr lang="sv-SE" sz="1400" dirty="0">
                <a:cs typeface="Arial"/>
              </a:rPr>
              <a:t>: </a:t>
            </a:r>
            <a:r>
              <a:rPr lang="sv-SE" sz="1400" b="1" dirty="0">
                <a:solidFill>
                  <a:srgbClr val="FF0000"/>
                </a:solidFill>
                <a:cs typeface="Arial"/>
              </a:rPr>
              <a:t>15 november 2024</a:t>
            </a:r>
          </a:p>
          <a:p>
            <a:pPr marL="502920" lvl="1" indent="-251460"/>
            <a:r>
              <a:rPr lang="sv-SE" sz="1400" dirty="0">
                <a:cs typeface="Arial"/>
              </a:rPr>
              <a:t>Övriga driftstarter (inkl. privata vårdgivare): </a:t>
            </a:r>
            <a:r>
              <a:rPr lang="sv-SE" sz="1400" b="1" dirty="0" err="1">
                <a:solidFill>
                  <a:srgbClr val="FF0000"/>
                </a:solidFill>
                <a:cs typeface="Arial"/>
              </a:rPr>
              <a:t>tbd</a:t>
            </a:r>
            <a:endParaRPr lang="sv-SE" sz="1400" b="1" dirty="0">
              <a:solidFill>
                <a:srgbClr val="FF0000"/>
              </a:solidFill>
              <a:cs typeface="Arial"/>
            </a:endParaRPr>
          </a:p>
          <a:p>
            <a:pPr marL="0" indent="0">
              <a:buNone/>
            </a:pPr>
            <a:endParaRPr lang="sv-S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224514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5073A67-3220-25B6-DAF7-41C2F0AA5B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61735"/>
            <a:ext cx="10442575" cy="428625"/>
          </a:xfrm>
        </p:spPr>
        <p:txBody>
          <a:bodyPr/>
          <a:lstStyle/>
          <a:p>
            <a:r>
              <a:rPr lang="sv-SE" dirty="0"/>
              <a:t>Dokumen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ACE16F2-E06D-6E1E-7319-6A89928701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v-SE" i="1" dirty="0"/>
              <a:t>Mall inventering ultraljud</a:t>
            </a:r>
          </a:p>
          <a:p>
            <a:pPr>
              <a:lnSpc>
                <a:spcPct val="150000"/>
              </a:lnSpc>
            </a:pPr>
            <a:r>
              <a:rPr lang="sv-SE" i="1" dirty="0"/>
              <a:t>Utdrag Ritz 2024-08-23 uppkopplade ultraljudsmaskiner </a:t>
            </a:r>
            <a:r>
              <a:rPr lang="sv-SE" dirty="0"/>
              <a:t>- kan användas som stöd men information behöver bekräftas i ovan inventeringsmall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054368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0254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ersionshistorik</a:t>
            </a:r>
            <a:endParaRPr lang="en-GB" dirty="0"/>
          </a:p>
        </p:txBody>
      </p:sp>
      <p:pic>
        <p:nvPicPr>
          <p:cNvPr id="13" name="Platshållare för innehåll 12">
            <a:extLst>
              <a:ext uri="{FF2B5EF4-FFF2-40B4-BE49-F238E27FC236}">
                <a16:creationId xmlns:a16="http://schemas.microsoft.com/office/drawing/2014/main" id="{C1F6C3FC-7269-0264-B0B8-86CA84599CC9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6"/>
          <a:stretch>
            <a:fillRect/>
          </a:stretch>
        </p:blipFill>
        <p:spPr>
          <a:xfrm>
            <a:off x="609600" y="1435100"/>
            <a:ext cx="10442575" cy="1676400"/>
          </a:xfrm>
        </p:spPr>
      </p:pic>
    </p:spTree>
    <p:extLst>
      <p:ext uri="{BB962C8B-B14F-4D97-AF65-F5344CB8AC3E}">
        <p14:creationId xmlns:p14="http://schemas.microsoft.com/office/powerpoint/2010/main" val="4128617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5B55A6AC-FE8A-8AF9-FD36-A55C151218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Bakgrund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BB72E07-779A-C12C-8112-5C2A9C1AE03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v-SE" sz="1800" dirty="0"/>
              <a:t>Vid införande av SDV kommer Obstretrix avvecklas</a:t>
            </a:r>
          </a:p>
          <a:p>
            <a:pPr>
              <a:lnSpc>
                <a:spcPct val="150000"/>
              </a:lnSpc>
            </a:pPr>
            <a:r>
              <a:rPr lang="sv-SE" sz="1800" dirty="0" err="1"/>
              <a:t>SyngoDynamics</a:t>
            </a:r>
            <a:r>
              <a:rPr lang="sv-SE" sz="1800" dirty="0"/>
              <a:t> kommer vara integrerat med SDV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Det innebär att de verksamheter som idag dokumenterar i Obstretrix bör använda </a:t>
            </a:r>
            <a:r>
              <a:rPr lang="sv-SE" sz="1800" dirty="0" err="1"/>
              <a:t>SyngoDynamics</a:t>
            </a:r>
            <a:r>
              <a:rPr lang="sv-SE" sz="1800" dirty="0"/>
              <a:t> istället. 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Det innebär också att ultraljudsapparaten behöver vara kopplade till </a:t>
            </a:r>
            <a:r>
              <a:rPr lang="sv-SE" sz="1800" dirty="0" err="1"/>
              <a:t>SyngoDynamics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4382778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2B8B39A-DBC5-0EA4-E4AD-DAF5ABB15F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ad händer annars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6022899-573D-1AD8-0513-3B789498B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v-SE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 de fall undersökaren använder en ultraljudsapparat som </a:t>
            </a:r>
            <a:r>
              <a:rPr lang="sv-SE" sz="1800" b="1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inte</a:t>
            </a:r>
            <a:r>
              <a:rPr lang="sv-SE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är ansluten till </a:t>
            </a:r>
            <a:r>
              <a:rPr lang="sv-SE" sz="1800" kern="100" dirty="0" err="1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yngoDynamics</a:t>
            </a:r>
            <a:r>
              <a:rPr lang="sv-SE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måste eventuella resultat dokumenteras i en journalanteckning. Inga mätvärden, dateringar, koder </a:t>
            </a:r>
            <a:r>
              <a:rPr lang="sv-SE" sz="1800" kern="100" dirty="0" err="1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etc</a:t>
            </a:r>
            <a:r>
              <a:rPr lang="sv-SE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 dras över till SDV.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Anledningen är att i SDV måste det komma en bokning från SDV, via ultraljudsapparaten till </a:t>
            </a:r>
            <a:r>
              <a:rPr lang="sv-SE" sz="1800" dirty="0" err="1"/>
              <a:t>SyngoDynamics</a:t>
            </a:r>
            <a:r>
              <a:rPr lang="sv-SE" sz="1800" dirty="0"/>
              <a:t>, för att dokumentation ska kunna ske. 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Om dokumentation sker manuellt i </a:t>
            </a:r>
            <a:r>
              <a:rPr lang="sv-SE" sz="1800" dirty="0" err="1"/>
              <a:t>SyngoDynamics</a:t>
            </a:r>
            <a:r>
              <a:rPr lang="sv-SE" sz="1800" dirty="0"/>
              <a:t>, utan SDV-bokning via ultraljudsapparat, skickas ingen data till SDV och ingen dokumentation sker i SDV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sv-SE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ka det dokumenteras t ex diagnoser, KVÅ koder eller läggas någon form av ordination, måste undersökaren använda en ultraljudsapparat som är kopplad till </a:t>
            </a:r>
            <a:r>
              <a:rPr lang="sv-SE" sz="1800" kern="100" dirty="0" err="1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Syngo</a:t>
            </a:r>
            <a:r>
              <a:rPr lang="sv-SE" sz="1800" kern="100" dirty="0"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. </a:t>
            </a:r>
          </a:p>
          <a:p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9600511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6A9CE8B-0219-CEBA-FBC7-E6E2AD507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Ultraljudsappara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FA26FD1-EB6E-6B3C-3706-12E25603EC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000" dirty="0"/>
              <a:t>Ultraljudsapparaterna behöver vara kompatibla med </a:t>
            </a:r>
            <a:r>
              <a:rPr lang="sv-SE" sz="2000" dirty="0" err="1"/>
              <a:t>SyngoDynamics</a:t>
            </a:r>
            <a:endParaRPr lang="sv-SE" sz="2000" dirty="0"/>
          </a:p>
          <a:p>
            <a:endParaRPr lang="sv-SE" sz="2000" dirty="0"/>
          </a:p>
          <a:p>
            <a:pPr marL="0" indent="0">
              <a:buNone/>
            </a:pPr>
            <a:r>
              <a:rPr lang="sv-SE" sz="2000" dirty="0"/>
              <a:t>Krav för uppkoppling till </a:t>
            </a:r>
            <a:r>
              <a:rPr lang="sv-SE" sz="2000" dirty="0" err="1"/>
              <a:t>SyngoDynamics</a:t>
            </a:r>
            <a:r>
              <a:rPr lang="sv-SE" sz="2000" dirty="0"/>
              <a:t>:</a:t>
            </a:r>
          </a:p>
          <a:p>
            <a:r>
              <a:rPr lang="sv-SE" sz="1800" dirty="0"/>
              <a:t>Ultraljudsapparaten är DICOM-kompatibel</a:t>
            </a:r>
          </a:p>
          <a:p>
            <a:r>
              <a:rPr lang="sv-SE" sz="1800" dirty="0"/>
              <a:t>DICOM-licens finns för apparaten</a:t>
            </a:r>
          </a:p>
          <a:p>
            <a:r>
              <a:rPr lang="sv-SE" sz="1800"/>
              <a:t>Nätverkskoppling  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32922236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3F39622-C6F3-ED16-72A5-3EA880CA9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Privata vårdgivare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0D34EE5-3F37-41EF-9A9F-2841857330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sv-SE" sz="2800" dirty="0"/>
              <a:t>Första </a:t>
            </a:r>
            <a:r>
              <a:rPr lang="sv-SE" sz="2800" dirty="0" err="1"/>
              <a:t>driftstart</a:t>
            </a:r>
            <a:endParaRPr lang="sv-SE" sz="2800" dirty="0"/>
          </a:p>
          <a:p>
            <a:pPr>
              <a:lnSpc>
                <a:spcPct val="150000"/>
              </a:lnSpc>
            </a:pPr>
            <a:r>
              <a:rPr lang="sv-SE" sz="1800" dirty="0"/>
              <a:t>Inga PVG som utför den typen av ultraljudsundersökningar ingår i första driftstarten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2800" dirty="0"/>
              <a:t>Åtkomst till </a:t>
            </a:r>
            <a:r>
              <a:rPr lang="sv-SE" sz="2800" dirty="0" err="1"/>
              <a:t>Syngo</a:t>
            </a:r>
            <a:r>
              <a:rPr lang="sv-SE" sz="2800" dirty="0"/>
              <a:t> Dynamics för privata vårdgivare:</a:t>
            </a:r>
          </a:p>
          <a:p>
            <a:pPr>
              <a:lnSpc>
                <a:spcPct val="150000"/>
              </a:lnSpc>
            </a:pPr>
            <a:r>
              <a:rPr lang="sv-SE" sz="1800" dirty="0"/>
              <a:t>Arbete pågår inom förvaltningsgruppen för Ultraljud i Region Skåne. Detta innefattar både: </a:t>
            </a:r>
          </a:p>
          <a:p>
            <a:pPr lvl="2">
              <a:lnSpc>
                <a:spcPct val="150000"/>
              </a:lnSpc>
            </a:pPr>
            <a:r>
              <a:rPr lang="sv-SE" sz="2000" dirty="0"/>
              <a:t>Teknisk lösning för åtkomst till </a:t>
            </a:r>
            <a:r>
              <a:rPr lang="sv-SE" sz="2000" dirty="0" err="1"/>
              <a:t>Syngo</a:t>
            </a:r>
            <a:r>
              <a:rPr lang="sv-SE" sz="2000" dirty="0"/>
              <a:t> Dynamics via SD-WAN/</a:t>
            </a:r>
            <a:r>
              <a:rPr lang="sv-SE" sz="2000" dirty="0" err="1"/>
              <a:t>Citrix</a:t>
            </a:r>
            <a:endParaRPr lang="sv-SE" sz="2000" dirty="0"/>
          </a:p>
          <a:p>
            <a:pPr lvl="2">
              <a:lnSpc>
                <a:spcPct val="150000"/>
              </a:lnSpc>
            </a:pPr>
            <a:r>
              <a:rPr lang="sv-SE" sz="2000" dirty="0"/>
              <a:t>Uppdatering av avtal.</a:t>
            </a:r>
          </a:p>
          <a:p>
            <a:pPr>
              <a:lnSpc>
                <a:spcPct val="150000"/>
              </a:lnSpc>
            </a:pPr>
            <a:r>
              <a:rPr lang="sv-SE" sz="2800" dirty="0"/>
              <a:t>Mer information kommer inför kommande driftstarter</a:t>
            </a:r>
          </a:p>
        </p:txBody>
      </p:sp>
    </p:spTree>
    <p:extLst>
      <p:ext uri="{BB962C8B-B14F-4D97-AF65-F5344CB8AC3E}">
        <p14:creationId xmlns:p14="http://schemas.microsoft.com/office/powerpoint/2010/main" val="35447010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D195197-21C7-3069-F01B-76BD2B8AC9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Berörda verksamheter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79E30A0-459D-9029-EF15-DA1401386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33707"/>
            <a:ext cx="10140128" cy="647153"/>
          </a:xfrm>
        </p:spPr>
        <p:txBody>
          <a:bodyPr/>
          <a:lstStyle/>
          <a:p>
            <a:pPr marL="0" indent="0">
              <a:buNone/>
            </a:pPr>
            <a:r>
              <a:rPr lang="sv-SE" sz="1800" dirty="0">
                <a:effectLst/>
                <a:latin typeface="+mj-lt"/>
                <a:ea typeface="Calibri" panose="020F0502020204030204" pitchFamily="34" charset="0"/>
              </a:rPr>
              <a:t>Nedan verksamheter utför ultraljudsundersökningar och dokumenterar i </a:t>
            </a:r>
            <a:r>
              <a:rPr lang="sv-SE" sz="1800" dirty="0" err="1">
                <a:effectLst/>
                <a:latin typeface="+mj-lt"/>
                <a:ea typeface="Calibri" panose="020F0502020204030204" pitchFamily="34" charset="0"/>
              </a:rPr>
              <a:t>Obstetrix</a:t>
            </a:r>
            <a:r>
              <a:rPr lang="sv-SE" sz="1800" dirty="0">
                <a:effectLst/>
                <a:latin typeface="+mj-lt"/>
                <a:ea typeface="Calibri" panose="020F0502020204030204" pitchFamily="34" charset="0"/>
              </a:rPr>
              <a:t> idag:</a:t>
            </a:r>
          </a:p>
          <a:p>
            <a:pPr marL="504000" lvl="2" indent="0">
              <a:buNone/>
            </a:pPr>
            <a:endParaRPr lang="sv-SE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endParaRPr lang="sv-SE" dirty="0"/>
          </a:p>
        </p:txBody>
      </p:sp>
      <p:sp>
        <p:nvSpPr>
          <p:cNvPr id="5" name="textruta 4">
            <a:extLst>
              <a:ext uri="{FF2B5EF4-FFF2-40B4-BE49-F238E27FC236}">
                <a16:creationId xmlns:a16="http://schemas.microsoft.com/office/drawing/2014/main" id="{64B5B1DA-49A0-05FB-A67B-FDEC5FD619A2}"/>
              </a:ext>
            </a:extLst>
          </p:cNvPr>
          <p:cNvSpPr txBox="1"/>
          <p:nvPr/>
        </p:nvSpPr>
        <p:spPr>
          <a:xfrm>
            <a:off x="750953" y="2271581"/>
            <a:ext cx="459302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sv-SE" sz="2000" dirty="0">
                <a:ea typeface="Calibri" panose="020F0502020204030204" pitchFamily="34" charset="0"/>
              </a:rPr>
              <a:t>Offentliga </a:t>
            </a:r>
            <a:r>
              <a:rPr lang="sv-SE" sz="2000" dirty="0">
                <a:effectLst/>
                <a:ea typeface="Calibri" panose="020F0502020204030204" pitchFamily="34" charset="0"/>
              </a:rPr>
              <a:t>vårdgivar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Calibri" panose="020F0502020204030204" pitchFamily="34" charset="0"/>
              </a:rPr>
              <a:t>Barnmorskemottagningar</a:t>
            </a:r>
            <a:endParaRPr lang="sv-SE" sz="1600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Calibri" panose="020F0502020204030204" pitchFamily="34" charset="0"/>
              </a:rPr>
              <a:t>Specialistmödravårdsmottagningar</a:t>
            </a:r>
            <a:endParaRPr lang="sv-SE" sz="1600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Calibri" panose="020F0502020204030204" pitchFamily="34" charset="0"/>
              </a:rPr>
              <a:t>Förlossningsavdelningar</a:t>
            </a:r>
            <a:endParaRPr lang="sv-SE" sz="1600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Calibri" panose="020F0502020204030204" pitchFamily="34" charset="0"/>
              </a:rPr>
              <a:t>BB-avdelningar</a:t>
            </a:r>
            <a:endParaRPr lang="sv-SE" sz="1600" dirty="0">
              <a:ea typeface="Calibri" panose="020F0502020204030204" pitchFamily="34" charset="0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Calibri" panose="020F0502020204030204" pitchFamily="34" charset="0"/>
              </a:rPr>
              <a:t>(ev. Neonatalavdelningar)</a:t>
            </a:r>
          </a:p>
          <a:p>
            <a:endParaRPr lang="sv-SE" dirty="0"/>
          </a:p>
        </p:txBody>
      </p:sp>
      <p:sp>
        <p:nvSpPr>
          <p:cNvPr id="7" name="Platshållare för innehåll 4">
            <a:extLst>
              <a:ext uri="{FF2B5EF4-FFF2-40B4-BE49-F238E27FC236}">
                <a16:creationId xmlns:a16="http://schemas.microsoft.com/office/drawing/2014/main" id="{AFA054E8-CC51-D2B0-389C-3541480F2832}"/>
              </a:ext>
            </a:extLst>
          </p:cNvPr>
          <p:cNvSpPr txBox="1">
            <a:spLocks/>
          </p:cNvSpPr>
          <p:nvPr/>
        </p:nvSpPr>
        <p:spPr>
          <a:xfrm>
            <a:off x="6096000" y="4608336"/>
            <a:ext cx="5005385" cy="4032250"/>
          </a:xfrm>
          <a:prstGeom prst="rect">
            <a:avLst/>
          </a:prstGeom>
        </p:spPr>
        <p:txBody>
          <a:bodyPr/>
          <a:lstStyle>
            <a:lvl1pPr marL="252000" indent="-25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4000" indent="-25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5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56000" indent="-252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dirty="0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0CD0D7F-4518-0BD2-D3A1-8C775FCF0B16}"/>
              </a:ext>
            </a:extLst>
          </p:cNvPr>
          <p:cNvSpPr txBox="1"/>
          <p:nvPr/>
        </p:nvSpPr>
        <p:spPr>
          <a:xfrm>
            <a:off x="5004624" y="2271581"/>
            <a:ext cx="6010217" cy="26468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sv-SE" sz="2000" dirty="0">
                <a:ea typeface="Calibri" panose="020F0502020204030204" pitchFamily="34" charset="0"/>
              </a:rPr>
              <a:t>Privata </a:t>
            </a:r>
            <a:r>
              <a:rPr lang="sv-SE" sz="2000" dirty="0">
                <a:effectLst/>
                <a:ea typeface="Calibri" panose="020F0502020204030204" pitchFamily="34" charset="0"/>
              </a:rPr>
              <a:t>vårdgivare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ffectLst/>
                <a:ea typeface="Calibri" panose="020F0502020204030204" pitchFamily="34" charset="0"/>
              </a:rPr>
              <a:t>Barnmorskegrupper Öresund (Malmö och Trelleborg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a typeface="Calibri" panose="020F0502020204030204" pitchFamily="34" charset="0"/>
              </a:rPr>
              <a:t>Capio (Simrishamn, Kristianstad, Ystad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a typeface="Calibri" panose="020F0502020204030204" pitchFamily="34" charset="0"/>
              </a:rPr>
              <a:t>Helsingborgs Barnmorskemottag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 err="1">
                <a:ea typeface="Calibri" panose="020F0502020204030204" pitchFamily="34" charset="0"/>
              </a:rPr>
              <a:t>Mama</a:t>
            </a:r>
            <a:r>
              <a:rPr lang="sv-SE" sz="1600" dirty="0">
                <a:ea typeface="Calibri" panose="020F0502020204030204" pitchFamily="34" charset="0"/>
              </a:rPr>
              <a:t> Mia (Malmö och Lund)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 err="1">
                <a:ea typeface="Calibri" panose="020F0502020204030204" pitchFamily="34" charset="0"/>
              </a:rPr>
              <a:t>Admira</a:t>
            </a:r>
            <a:r>
              <a:rPr lang="sv-SE" sz="1600" dirty="0">
                <a:ea typeface="Calibri" panose="020F0502020204030204" pitchFamily="34" charset="0"/>
              </a:rPr>
              <a:t> Kvinnohälsa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a typeface="Calibri" panose="020F0502020204030204" pitchFamily="34" charset="0"/>
              </a:rPr>
              <a:t>Irma Barnmorskemottagn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a typeface="Calibri" panose="020F0502020204030204" pitchFamily="34" charset="0"/>
              </a:rPr>
              <a:t>Barnmorskemottagning Mammaku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v-SE" sz="1600" dirty="0">
                <a:ea typeface="Calibri" panose="020F0502020204030204" pitchFamily="34" charset="0"/>
              </a:rPr>
              <a:t>Rosengårdbarnmorskestation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667072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44DA805-C49C-74DE-CF58-94CDE47363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ventering ultraljudsapparater</a:t>
            </a:r>
          </a:p>
        </p:txBody>
      </p:sp>
      <p:sp>
        <p:nvSpPr>
          <p:cNvPr id="7" name="Platshållare för innehåll 2">
            <a:extLst>
              <a:ext uri="{FF2B5EF4-FFF2-40B4-BE49-F238E27FC236}">
                <a16:creationId xmlns:a16="http://schemas.microsoft.com/office/drawing/2014/main" id="{82DB0B0D-BF13-F503-8ED5-C68B6140FB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4"/>
            <a:ext cx="10442575" cy="4683125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sv-SE" sz="2400" dirty="0"/>
              <a:t>För att säkerställa att samtliga ultraljudsaparater är kopplade till </a:t>
            </a:r>
            <a:r>
              <a:rPr lang="sv-SE" sz="2400" dirty="0" err="1"/>
              <a:t>SyngoDynamics</a:t>
            </a:r>
            <a:r>
              <a:rPr lang="sv-SE" sz="2400" dirty="0"/>
              <a:t> vid SDV </a:t>
            </a:r>
            <a:r>
              <a:rPr lang="sv-SE" sz="2400" dirty="0" err="1"/>
              <a:t>driftstart</a:t>
            </a:r>
            <a:r>
              <a:rPr lang="sv-SE" sz="2400" dirty="0"/>
              <a:t> behöver en inventering göras</a:t>
            </a:r>
          </a:p>
          <a:p>
            <a:pPr>
              <a:lnSpc>
                <a:spcPct val="150000"/>
              </a:lnSpc>
            </a:pPr>
            <a:r>
              <a:rPr lang="sv-SE" sz="2400" dirty="0"/>
              <a:t>Verksamheter som behöver gå vidare med inventering är de som svarat </a:t>
            </a:r>
            <a:r>
              <a:rPr lang="sv-SE" sz="2400" b="1" dirty="0"/>
              <a:t>JA</a:t>
            </a:r>
            <a:r>
              <a:rPr lang="sv-SE" sz="2400" dirty="0"/>
              <a:t> på följande fråga:</a:t>
            </a:r>
          </a:p>
          <a:p>
            <a:pPr>
              <a:lnSpc>
                <a:spcPct val="150000"/>
              </a:lnSpc>
            </a:pPr>
            <a:r>
              <a:rPr lang="sv-SE" sz="2400" dirty="0"/>
              <a:t>Dokumenterar verksamheten ultraljudsundersökningar i </a:t>
            </a:r>
            <a:r>
              <a:rPr lang="sv-SE" sz="2400" dirty="0" err="1"/>
              <a:t>Obstetrix</a:t>
            </a:r>
            <a:r>
              <a:rPr lang="sv-SE" sz="2400" dirty="0"/>
              <a:t> idag?</a:t>
            </a:r>
          </a:p>
          <a:p>
            <a:pPr lvl="1">
              <a:lnSpc>
                <a:spcPct val="150000"/>
              </a:lnSpc>
            </a:pPr>
            <a:r>
              <a:rPr lang="sv-SE" sz="2000" dirty="0"/>
              <a:t>Vid </a:t>
            </a:r>
            <a:r>
              <a:rPr lang="sv-SE" sz="2000" b="1" dirty="0"/>
              <a:t>JA</a:t>
            </a:r>
            <a:r>
              <a:rPr lang="sv-SE" sz="2000" dirty="0"/>
              <a:t> gå vidare till nästa sida för inventering</a:t>
            </a:r>
          </a:p>
          <a:p>
            <a:pPr lvl="1">
              <a:lnSpc>
                <a:spcPct val="150000"/>
              </a:lnSpc>
            </a:pPr>
            <a:r>
              <a:rPr lang="sv-SE" sz="2000" dirty="0"/>
              <a:t>Vid </a:t>
            </a:r>
            <a:r>
              <a:rPr lang="sv-SE" sz="2000" b="1" dirty="0"/>
              <a:t>NEJ</a:t>
            </a:r>
            <a:r>
              <a:rPr lang="sv-SE" sz="2000" dirty="0"/>
              <a:t> behövs ingen vidare inventering</a:t>
            </a:r>
          </a:p>
        </p:txBody>
      </p:sp>
    </p:spTree>
    <p:extLst>
      <p:ext uri="{BB962C8B-B14F-4D97-AF65-F5344CB8AC3E}">
        <p14:creationId xmlns:p14="http://schemas.microsoft.com/office/powerpoint/2010/main" val="95518051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B4C5C4-426B-F71D-0CE3-A41003FF6E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4052" y="281053"/>
            <a:ext cx="10442575" cy="428625"/>
          </a:xfrm>
        </p:spPr>
        <p:txBody>
          <a:bodyPr/>
          <a:lstStyle/>
          <a:p>
            <a:r>
              <a:rPr lang="sv-SE"/>
              <a:t>Inventering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416AA689-E8DA-3B04-8080-05EFAA6FDB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3370" y="1087437"/>
            <a:ext cx="10442575" cy="5295434"/>
          </a:xfrm>
        </p:spPr>
        <p:txBody>
          <a:bodyPr lIns="91440" tIns="45720" rIns="91440" bIns="45720" anchor="t"/>
          <a:lstStyle/>
          <a:p>
            <a:pPr marL="0" indent="0">
              <a:buNone/>
            </a:pPr>
            <a:r>
              <a:rPr lang="sv-SE" sz="2000" dirty="0"/>
              <a:t>Om ultraljudsundersökningar dokumenteras i </a:t>
            </a:r>
            <a:r>
              <a:rPr lang="sv-SE" sz="2000" dirty="0" err="1"/>
              <a:t>Obstetrix</a:t>
            </a:r>
            <a:r>
              <a:rPr lang="sv-SE" sz="2000" dirty="0"/>
              <a:t> görs en inventering enligt nedan Excel-mall för att ta reda på dessa apparater kan kopplas mot </a:t>
            </a:r>
            <a:r>
              <a:rPr lang="sv-SE" sz="2000" dirty="0" err="1"/>
              <a:t>SyngoDynamics</a:t>
            </a:r>
            <a:r>
              <a:rPr lang="sv-SE" sz="2000" dirty="0"/>
              <a:t> istället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800" dirty="0"/>
              <a:t>Använd </a:t>
            </a:r>
            <a:r>
              <a:rPr lang="sv-SE" sz="1800" i="1" dirty="0"/>
              <a:t>”Mall inventering ultraljud” </a:t>
            </a:r>
            <a:r>
              <a:rPr lang="sv-SE" sz="1800" dirty="0"/>
              <a:t>och ange:</a:t>
            </a:r>
          </a:p>
          <a:p>
            <a:pPr marL="342900" indent="-342900">
              <a:buFont typeface="+mj-lt"/>
              <a:buAutoNum type="arabicPeriod"/>
            </a:pPr>
            <a:r>
              <a:rPr lang="sv-SE" sz="1600" dirty="0"/>
              <a:t>Ultraljudsapparat – lista fabrikat och modell</a:t>
            </a:r>
          </a:p>
          <a:p>
            <a:pPr marL="342900" indent="-342900">
              <a:buFont typeface="+mj-lt"/>
              <a:buAutoNum type="arabicPeriod"/>
            </a:pPr>
            <a:r>
              <a:rPr lang="sv-SE" sz="1600" dirty="0" err="1"/>
              <a:t>Inventarienr</a:t>
            </a:r>
            <a:r>
              <a:rPr lang="sv-SE" sz="1600" dirty="0"/>
              <a:t>/</a:t>
            </a:r>
            <a:r>
              <a:rPr lang="sv-SE" sz="1600" dirty="0" err="1"/>
              <a:t>serienr</a:t>
            </a:r>
            <a:r>
              <a:rPr lang="sv-SE" sz="1600" dirty="0"/>
              <a:t> – läs av på apparaten </a:t>
            </a:r>
          </a:p>
          <a:p>
            <a:pPr marL="342900" indent="-342900">
              <a:buFont typeface="+mj-lt"/>
              <a:buAutoNum type="arabicPeriod"/>
            </a:pPr>
            <a:r>
              <a:rPr lang="sv-SE" sz="1600" dirty="0"/>
              <a:t>Är den kopplad till </a:t>
            </a:r>
            <a:r>
              <a:rPr lang="sv-SE" sz="1600" dirty="0" err="1"/>
              <a:t>SyngoDynamics</a:t>
            </a:r>
            <a:r>
              <a:rPr lang="sv-SE" sz="1600" dirty="0"/>
              <a:t>? Om JA behövs inget mer göras</a:t>
            </a:r>
          </a:p>
          <a:p>
            <a:pPr marL="342900" indent="-342900">
              <a:buFont typeface="+mj-lt"/>
              <a:buAutoNum type="arabicPeriod"/>
            </a:pPr>
            <a:r>
              <a:rPr lang="sv-SE" sz="1600" dirty="0"/>
              <a:t>Är den DICOM-kompatibel? Stäm av med utrustningens leverantör</a:t>
            </a:r>
          </a:p>
          <a:p>
            <a:pPr marL="342900" indent="-342900">
              <a:buFont typeface="+mj-lt"/>
              <a:buAutoNum type="arabicPeriod"/>
            </a:pPr>
            <a:r>
              <a:rPr lang="sv-SE" sz="1600" dirty="0"/>
              <a:t>Finns DICOM-licens på apparat eller att köpa? Stäm av med utrustningens leverantör</a:t>
            </a:r>
          </a:p>
          <a:p>
            <a:pPr marL="342900" indent="-342900">
              <a:buFont typeface="+mj-lt"/>
              <a:buAutoNum type="arabicPeriod"/>
            </a:pPr>
            <a:r>
              <a:rPr lang="sv-SE" sz="1600" dirty="0"/>
              <a:t>Övrigt – ev. plan för vidare steg</a:t>
            </a:r>
          </a:p>
          <a:p>
            <a:pPr marL="0" indent="0">
              <a:buNone/>
            </a:pPr>
            <a:endParaRPr lang="sv-SE" dirty="0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AD4BE566-A95B-61C9-603B-22A76BDB54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3370" y="4606747"/>
            <a:ext cx="10319517" cy="147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1168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Region Skåne presentation">
  <a:themeElements>
    <a:clrScheme name="Anpassat 1">
      <a:dk1>
        <a:sysClr val="windowText" lastClr="000000"/>
      </a:dk1>
      <a:lt1>
        <a:sysClr val="window" lastClr="FFFFFF"/>
      </a:lt1>
      <a:dk2>
        <a:srgbClr val="307C8E"/>
      </a:dk2>
      <a:lt2>
        <a:srgbClr val="FDF9E4"/>
      </a:lt2>
      <a:accent1>
        <a:srgbClr val="307C8E"/>
      </a:accent1>
      <a:accent2>
        <a:srgbClr val="FDF9E4"/>
      </a:accent2>
      <a:accent3>
        <a:srgbClr val="E40135"/>
      </a:accent3>
      <a:accent4>
        <a:srgbClr val="FDF9E4"/>
      </a:accent4>
      <a:accent5>
        <a:srgbClr val="5F5236"/>
      </a:accent5>
      <a:accent6>
        <a:srgbClr val="FDD32F"/>
      </a:accent6>
      <a:hlink>
        <a:srgbClr val="0563C1"/>
      </a:hlink>
      <a:folHlink>
        <a:srgbClr val="954F72"/>
      </a:folHlink>
    </a:clrScheme>
    <a:fontScheme name="Anpassat 1">
      <a:majorFont>
        <a:latin typeface="Public Sans"/>
        <a:ea typeface=""/>
        <a:cs typeface=""/>
      </a:majorFont>
      <a:minorFont>
        <a:latin typeface="Public Sans"/>
        <a:ea typeface=""/>
        <a:cs typeface=""/>
      </a:minorFont>
    </a:fontScheme>
    <a:fmtScheme name="Region Skån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gion Skånes prestentationsmall" id="{6234B990-46E4-4798-A7C9-795EC348AB7D}" vid="{E536645E-1CDF-4149-833A-B078DB4F462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e68ab6b-79c8-43ea-b178-dccb9842d64a">
      <UserInfo>
        <DisplayName/>
        <AccountId xsi:nil="true"/>
        <AccountType/>
      </UserInfo>
    </SharedWithUsers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MediaLengthInSeconds xmlns="b9481cc7-f7fc-4d3a-a93a-4be4fcbf4595" xsi:nil="true"/>
    <Dokument_x00e4_gare xmlns="b9481cc7-f7fc-4d3a-a93a-4be4fcbf4595">Emma Lundell</Dokument_x00e4_gare>
  </documentManagement>
</p:properties>
</file>

<file path=customXml/itemProps1.xml><?xml version="1.0" encoding="utf-8"?>
<ds:datastoreItem xmlns:ds="http://schemas.openxmlformats.org/officeDocument/2006/customXml" ds:itemID="{FA69D7AF-D059-4A2C-9598-CAD0447F58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481cc7-f7fc-4d3a-a93a-4be4fcbf4595"/>
    <ds:schemaRef ds:uri="2e68ab6b-79c8-43ea-b178-dccb9842d6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2EE4380-359E-47E0-84DD-F2784AAED7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0B97D5-9E30-4B49-BB20-C95802EFD8F9}">
  <ds:schemaRefs>
    <ds:schemaRef ds:uri="http://www.w3.org/XML/1998/namespace"/>
    <ds:schemaRef ds:uri="http://purl.org/dc/dcmitype/"/>
    <ds:schemaRef ds:uri="http://schemas.microsoft.com/office/2006/metadata/properties"/>
    <ds:schemaRef ds:uri="http://purl.org/dc/terms/"/>
    <ds:schemaRef ds:uri="b9481cc7-f7fc-4d3a-a93a-4be4fcbf459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e68ab6b-79c8-43ea-b178-dccb9842d64a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 SDV Mall</Template>
  <TotalTime>0</TotalTime>
  <Words>776</Words>
  <Application>Microsoft Office PowerPoint</Application>
  <PresentationFormat>Widescreen</PresentationFormat>
  <Paragraphs>95</Paragraphs>
  <Slides>1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5" baseType="lpstr">
      <vt:lpstr>Region Skåne presentation</vt:lpstr>
      <vt:lpstr>Ultraljudsapparater i SDV </vt:lpstr>
      <vt:lpstr>Versionshistorik</vt:lpstr>
      <vt:lpstr>Bakgrund</vt:lpstr>
      <vt:lpstr>Vad händer annars?</vt:lpstr>
      <vt:lpstr>Ultraljudsapparater</vt:lpstr>
      <vt:lpstr>Privata vårdgivare</vt:lpstr>
      <vt:lpstr>Berörda verksamheter</vt:lpstr>
      <vt:lpstr>Inventering ultraljudsapparater</vt:lpstr>
      <vt:lpstr>Inventering</vt:lpstr>
      <vt:lpstr>Vad händer efter inventeringen?</vt:lpstr>
      <vt:lpstr>Hjälp på vägen… (gäller endast offentliga vårdgivare)</vt:lpstr>
      <vt:lpstr>Omfattning och deadline</vt:lpstr>
      <vt:lpstr>Dokume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Karlsson Peter D</dc:creator>
  <cp:lastModifiedBy>Sakratidis Sandra</cp:lastModifiedBy>
  <cp:revision>4</cp:revision>
  <dcterms:created xsi:type="dcterms:W3CDTF">2021-06-22T06:18:46Z</dcterms:created>
  <dcterms:modified xsi:type="dcterms:W3CDTF">2025-04-28T10:56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1EBBC7768F1E4A9E0C4E1A60879018</vt:lpwstr>
  </property>
  <property fmtid="{D5CDD505-2E9C-101B-9397-08002B2CF9AE}" pid="3" name="_dlc_DocIdItemGuid">
    <vt:lpwstr>d795f042-fb22-43c0-8172-ac355558e8a2</vt:lpwstr>
  </property>
  <property fmtid="{D5CDD505-2E9C-101B-9397-08002B2CF9AE}" pid="4" name="MediaServiceImageTags">
    <vt:lpwstr/>
  </property>
  <property fmtid="{D5CDD505-2E9C-101B-9397-08002B2CF9AE}" pid="5" name="Order">
    <vt:r8>18200</vt:r8>
  </property>
  <property fmtid="{D5CDD505-2E9C-101B-9397-08002B2CF9AE}" pid="6" name="xd_Signature">
    <vt:bool>false</vt:bool>
  </property>
  <property fmtid="{D5CDD505-2E9C-101B-9397-08002B2CF9AE}" pid="7" name="xd_ProgID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_ExtendedDescription">
    <vt:lpwstr/>
  </property>
  <property fmtid="{D5CDD505-2E9C-101B-9397-08002B2CF9AE}" pid="11" name="TriggerFlowInfo">
    <vt:lpwstr/>
  </property>
  <property fmtid="{D5CDD505-2E9C-101B-9397-08002B2CF9AE}" pid="12" name="Dokumentägare">
    <vt:lpwstr>165;#Lundell Emma</vt:lpwstr>
  </property>
  <property fmtid="{D5CDD505-2E9C-101B-9397-08002B2CF9AE}" pid="13" name="test">
    <vt:lpwstr>Emma Lundell</vt:lpwstr>
  </property>
</Properties>
</file>